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15C67A-2B44-F554-30DB-B9E64E40F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hink-cell data - do not delete" hidden="1">
            <a:extLst>
              <a:ext uri="{FF2B5EF4-FFF2-40B4-BE49-F238E27FC236}">
                <a16:creationId xmlns:a16="http://schemas.microsoft.com/office/drawing/2014/main" id="{B5AEC03E-0618-5AAA-5737-8B8D20772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AEC03E-0618-5AAA-5737-8B8D20772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2D45DC-EDEF-8A64-41D4-FDB41452A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08914-7CDE-6406-78F6-F009AFA6A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62786F8B-7A64-52D1-AF95-3DE22317EC28}"/>
              </a:ext>
            </a:extLst>
          </p:cNvPr>
          <p:cNvGrpSpPr/>
          <p:nvPr/>
        </p:nvGrpSpPr>
        <p:grpSpPr>
          <a:xfrm>
            <a:off x="3945264" y="1308835"/>
            <a:ext cx="2083524" cy="1799442"/>
            <a:chOff x="2021296" y="608417"/>
            <a:chExt cx="2505907" cy="2164234"/>
          </a:xfrm>
          <a:solidFill>
            <a:schemeClr val="accent1"/>
          </a:solidFill>
        </p:grpSpPr>
        <p:sp>
          <p:nvSpPr>
            <p:cNvPr id="6" name="Oval 17">
              <a:extLst>
                <a:ext uri="{FF2B5EF4-FFF2-40B4-BE49-F238E27FC236}">
                  <a16:creationId xmlns:a16="http://schemas.microsoft.com/office/drawing/2014/main" id="{AAF2189F-2BD8-AE00-8659-E053D4AF6888}"/>
                </a:ext>
              </a:extLst>
            </p:cNvPr>
            <p:cNvSpPr/>
            <p:nvPr/>
          </p:nvSpPr>
          <p:spPr>
            <a:xfrm>
              <a:off x="2021296" y="608417"/>
              <a:ext cx="2505907" cy="2164234"/>
            </a:xfrm>
            <a:custGeom>
              <a:avLst/>
              <a:gdLst/>
              <a:ahLst/>
              <a:cxnLst/>
              <a:rect l="l" t="t" r="r" b="b"/>
              <a:pathLst>
                <a:path w="2505907" h="2164234">
                  <a:moveTo>
                    <a:pt x="2501728" y="0"/>
                  </a:moveTo>
                  <a:lnTo>
                    <a:pt x="2505907" y="212"/>
                  </a:lnTo>
                  <a:lnTo>
                    <a:pt x="2505907" y="1459214"/>
                  </a:lnTo>
                  <a:cubicBezTo>
                    <a:pt x="1978887" y="1477002"/>
                    <a:pt x="1519120" y="1753805"/>
                    <a:pt x="1254596" y="2164234"/>
                  </a:cubicBezTo>
                  <a:lnTo>
                    <a:pt x="856130" y="1936482"/>
                  </a:lnTo>
                  <a:lnTo>
                    <a:pt x="499541" y="1732665"/>
                  </a:lnTo>
                  <a:lnTo>
                    <a:pt x="0" y="1447142"/>
                  </a:lnTo>
                  <a:cubicBezTo>
                    <a:pt x="497351" y="581525"/>
                    <a:pt x="1431629" y="0"/>
                    <a:pt x="250172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Oval 17">
              <a:extLst>
                <a:ext uri="{FF2B5EF4-FFF2-40B4-BE49-F238E27FC236}">
                  <a16:creationId xmlns:a16="http://schemas.microsoft.com/office/drawing/2014/main" id="{71EFE7C9-892B-F897-38E4-7FF6B66FE3EF}"/>
                </a:ext>
              </a:extLst>
            </p:cNvPr>
            <p:cNvSpPr/>
            <p:nvPr/>
          </p:nvSpPr>
          <p:spPr>
            <a:xfrm>
              <a:off x="2156518" y="724467"/>
              <a:ext cx="2283731" cy="1991773"/>
            </a:xfrm>
            <a:custGeom>
              <a:avLst/>
              <a:gdLst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1982013"/>
                <a:gd name="connsiteX1" fmla="*/ 2330413 w 2330413"/>
                <a:gd name="connsiteY1" fmla="*/ 1345628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01838 w 2311363"/>
                <a:gd name="connsiteY0" fmla="*/ 0 h 1982013"/>
                <a:gd name="connsiteX1" fmla="*/ 2311363 w 2311363"/>
                <a:gd name="connsiteY1" fmla="*/ 1340866 h 1982013"/>
                <a:gd name="connsiteX2" fmla="*/ 1166701 w 2311363"/>
                <a:gd name="connsiteY2" fmla="*/ 1982013 h 1982013"/>
                <a:gd name="connsiteX3" fmla="*/ 0 w 2311363"/>
                <a:gd name="connsiteY3" fmla="*/ 1345241 h 1982013"/>
                <a:gd name="connsiteX4" fmla="*/ 2301838 w 2311363"/>
                <a:gd name="connsiteY4" fmla="*/ 0 h 1982013"/>
                <a:gd name="connsiteX0" fmla="*/ 2292313 w 2301838"/>
                <a:gd name="connsiteY0" fmla="*/ 0 h 1982013"/>
                <a:gd name="connsiteX1" fmla="*/ 2301838 w 2301838"/>
                <a:gd name="connsiteY1" fmla="*/ 1340866 h 1982013"/>
                <a:gd name="connsiteX2" fmla="*/ 1157176 w 2301838"/>
                <a:gd name="connsiteY2" fmla="*/ 1982013 h 1982013"/>
                <a:gd name="connsiteX3" fmla="*/ 0 w 2301838"/>
                <a:gd name="connsiteY3" fmla="*/ 1321428 h 1982013"/>
                <a:gd name="connsiteX4" fmla="*/ 2292313 w 2301838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47651 w 2292313"/>
                <a:gd name="connsiteY2" fmla="*/ 1982013 h 1982013"/>
                <a:gd name="connsiteX3" fmla="*/ 0 w 2292313"/>
                <a:gd name="connsiteY3" fmla="*/ 1321428 h 1982013"/>
                <a:gd name="connsiteX4" fmla="*/ 2282788 w 2292313"/>
                <a:gd name="connsiteY4" fmla="*/ 0 h 1982013"/>
                <a:gd name="connsiteX0" fmla="*/ 2297076 w 2306601"/>
                <a:gd name="connsiteY0" fmla="*/ 0 h 1982013"/>
                <a:gd name="connsiteX1" fmla="*/ 2306601 w 2306601"/>
                <a:gd name="connsiteY1" fmla="*/ 1340866 h 1982013"/>
                <a:gd name="connsiteX2" fmla="*/ 1161939 w 2306601"/>
                <a:gd name="connsiteY2" fmla="*/ 1982013 h 1982013"/>
                <a:gd name="connsiteX3" fmla="*/ 0 w 2306601"/>
                <a:gd name="connsiteY3" fmla="*/ 1307141 h 1982013"/>
                <a:gd name="connsiteX4" fmla="*/ 2297076 w 2306601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47651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55153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96300"/>
                <a:gd name="connsiteX1" fmla="*/ 2292313 w 2292313"/>
                <a:gd name="connsiteY1" fmla="*/ 1355153 h 1996300"/>
                <a:gd name="connsiteX2" fmla="*/ 1147651 w 2292313"/>
                <a:gd name="connsiteY2" fmla="*/ 1996300 h 1996300"/>
                <a:gd name="connsiteX3" fmla="*/ 0 w 2292313"/>
                <a:gd name="connsiteY3" fmla="*/ 1311903 h 1996300"/>
                <a:gd name="connsiteX4" fmla="*/ 2282788 w 2292313"/>
                <a:gd name="connsiteY4" fmla="*/ 0 h 1996300"/>
                <a:gd name="connsiteX0" fmla="*/ 2292313 w 2301838"/>
                <a:gd name="connsiteY0" fmla="*/ 0 h 1996300"/>
                <a:gd name="connsiteX1" fmla="*/ 2301838 w 2301838"/>
                <a:gd name="connsiteY1" fmla="*/ 1355153 h 1996300"/>
                <a:gd name="connsiteX2" fmla="*/ 1157176 w 2301838"/>
                <a:gd name="connsiteY2" fmla="*/ 1996300 h 1996300"/>
                <a:gd name="connsiteX3" fmla="*/ 0 w 2301838"/>
                <a:gd name="connsiteY3" fmla="*/ 1326191 h 1996300"/>
                <a:gd name="connsiteX4" fmla="*/ 2292313 w 2301838"/>
                <a:gd name="connsiteY4" fmla="*/ 0 h 1996300"/>
                <a:gd name="connsiteX0" fmla="*/ 2292313 w 2292758"/>
                <a:gd name="connsiteY0" fmla="*/ 0 h 1996300"/>
                <a:gd name="connsiteX1" fmla="*/ 2283731 w 2292758"/>
                <a:gd name="connsiteY1" fmla="*/ 1355153 h 1996300"/>
                <a:gd name="connsiteX2" fmla="*/ 1157176 w 2292758"/>
                <a:gd name="connsiteY2" fmla="*/ 1996300 h 1996300"/>
                <a:gd name="connsiteX3" fmla="*/ 0 w 2292758"/>
                <a:gd name="connsiteY3" fmla="*/ 1326191 h 1996300"/>
                <a:gd name="connsiteX4" fmla="*/ 2292313 w 2292758"/>
                <a:gd name="connsiteY4" fmla="*/ 0 h 1996300"/>
                <a:gd name="connsiteX0" fmla="*/ 2269680 w 2283731"/>
                <a:gd name="connsiteY0" fmla="*/ 0 h 1996300"/>
                <a:gd name="connsiteX1" fmla="*/ 2283731 w 2283731"/>
                <a:gd name="connsiteY1" fmla="*/ 1355153 h 1996300"/>
                <a:gd name="connsiteX2" fmla="*/ 1157176 w 2283731"/>
                <a:gd name="connsiteY2" fmla="*/ 1996300 h 1996300"/>
                <a:gd name="connsiteX3" fmla="*/ 0 w 2283731"/>
                <a:gd name="connsiteY3" fmla="*/ 1326191 h 1996300"/>
                <a:gd name="connsiteX4" fmla="*/ 2269680 w 2283731"/>
                <a:gd name="connsiteY4" fmla="*/ 0 h 1996300"/>
                <a:gd name="connsiteX0" fmla="*/ 2278733 w 2283731"/>
                <a:gd name="connsiteY0" fmla="*/ 0 h 1996300"/>
                <a:gd name="connsiteX1" fmla="*/ 2283731 w 2283731"/>
                <a:gd name="connsiteY1" fmla="*/ 1355153 h 1996300"/>
                <a:gd name="connsiteX2" fmla="*/ 1157176 w 2283731"/>
                <a:gd name="connsiteY2" fmla="*/ 1996300 h 1996300"/>
                <a:gd name="connsiteX3" fmla="*/ 0 w 2283731"/>
                <a:gd name="connsiteY3" fmla="*/ 1326191 h 1996300"/>
                <a:gd name="connsiteX4" fmla="*/ 2278733 w 2283731"/>
                <a:gd name="connsiteY4" fmla="*/ 0 h 1996300"/>
                <a:gd name="connsiteX0" fmla="*/ 2278733 w 2283731"/>
                <a:gd name="connsiteY0" fmla="*/ 0 h 1978193"/>
                <a:gd name="connsiteX1" fmla="*/ 2283731 w 2283731"/>
                <a:gd name="connsiteY1" fmla="*/ 1355153 h 1978193"/>
                <a:gd name="connsiteX2" fmla="*/ 1179810 w 2283731"/>
                <a:gd name="connsiteY2" fmla="*/ 1978193 h 1978193"/>
                <a:gd name="connsiteX3" fmla="*/ 0 w 2283731"/>
                <a:gd name="connsiteY3" fmla="*/ 1326191 h 1978193"/>
                <a:gd name="connsiteX4" fmla="*/ 2278733 w 2283731"/>
                <a:gd name="connsiteY4" fmla="*/ 0 h 1978193"/>
                <a:gd name="connsiteX0" fmla="*/ 2278733 w 2283731"/>
                <a:gd name="connsiteY0" fmla="*/ 0 h 1991773"/>
                <a:gd name="connsiteX1" fmla="*/ 2283731 w 2283731"/>
                <a:gd name="connsiteY1" fmla="*/ 1355153 h 1991773"/>
                <a:gd name="connsiteX2" fmla="*/ 1179810 w 2283731"/>
                <a:gd name="connsiteY2" fmla="*/ 1991773 h 1991773"/>
                <a:gd name="connsiteX3" fmla="*/ 0 w 2283731"/>
                <a:gd name="connsiteY3" fmla="*/ 1326191 h 1991773"/>
                <a:gd name="connsiteX4" fmla="*/ 2278733 w 2283731"/>
                <a:gd name="connsiteY4" fmla="*/ 0 h 1991773"/>
                <a:gd name="connsiteX0" fmla="*/ 2278733 w 2283731"/>
                <a:gd name="connsiteY0" fmla="*/ 0 h 1991773"/>
                <a:gd name="connsiteX1" fmla="*/ 2283731 w 2283731"/>
                <a:gd name="connsiteY1" fmla="*/ 1355153 h 1991773"/>
                <a:gd name="connsiteX2" fmla="*/ 1179810 w 2283731"/>
                <a:gd name="connsiteY2" fmla="*/ 1991773 h 1991773"/>
                <a:gd name="connsiteX3" fmla="*/ 0 w 2283731"/>
                <a:gd name="connsiteY3" fmla="*/ 1312610 h 1991773"/>
                <a:gd name="connsiteX4" fmla="*/ 2278733 w 2283731"/>
                <a:gd name="connsiteY4" fmla="*/ 0 h 1991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3731" h="1991773">
                  <a:moveTo>
                    <a:pt x="2278733" y="0"/>
                  </a:moveTo>
                  <a:cubicBezTo>
                    <a:pt x="2281908" y="451718"/>
                    <a:pt x="2280556" y="903435"/>
                    <a:pt x="2283731" y="1355153"/>
                  </a:cubicBezTo>
                  <a:cubicBezTo>
                    <a:pt x="1735489" y="1416469"/>
                    <a:pt x="1337527" y="1759006"/>
                    <a:pt x="1179810" y="1991773"/>
                  </a:cubicBezTo>
                  <a:lnTo>
                    <a:pt x="0" y="1312610"/>
                  </a:lnTo>
                  <a:cubicBezTo>
                    <a:pt x="475368" y="517019"/>
                    <a:pt x="1288136" y="14810"/>
                    <a:pt x="22787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" name="Group 1">
            <a:extLst>
              <a:ext uri="{FF2B5EF4-FFF2-40B4-BE49-F238E27FC236}">
                <a16:creationId xmlns:a16="http://schemas.microsoft.com/office/drawing/2014/main" id="{759AB686-BAC7-3EAC-5A62-CFC5536B7F91}"/>
              </a:ext>
            </a:extLst>
          </p:cNvPr>
          <p:cNvGrpSpPr/>
          <p:nvPr/>
        </p:nvGrpSpPr>
        <p:grpSpPr>
          <a:xfrm>
            <a:off x="6121296" y="1295401"/>
            <a:ext cx="2075206" cy="1795203"/>
            <a:chOff x="4638465" y="592259"/>
            <a:chExt cx="2495902" cy="2159136"/>
          </a:xfrm>
          <a:solidFill>
            <a:schemeClr val="accent2"/>
          </a:solidFill>
        </p:grpSpPr>
        <p:sp>
          <p:nvSpPr>
            <p:cNvPr id="9" name="Oval 2">
              <a:extLst>
                <a:ext uri="{FF2B5EF4-FFF2-40B4-BE49-F238E27FC236}">
                  <a16:creationId xmlns:a16="http://schemas.microsoft.com/office/drawing/2014/main" id="{F09C94F0-28C1-2B07-47B3-97C3CB52DB48}"/>
                </a:ext>
              </a:extLst>
            </p:cNvPr>
            <p:cNvSpPr/>
            <p:nvPr/>
          </p:nvSpPr>
          <p:spPr>
            <a:xfrm>
              <a:off x="4638465" y="592259"/>
              <a:ext cx="2495902" cy="2159136"/>
            </a:xfrm>
            <a:custGeom>
              <a:avLst/>
              <a:gdLst/>
              <a:ahLst/>
              <a:cxnLst/>
              <a:rect l="l" t="t" r="r" b="b"/>
              <a:pathLst>
                <a:path w="2495902" h="2159136">
                  <a:moveTo>
                    <a:pt x="2107" y="0"/>
                  </a:moveTo>
                  <a:cubicBezTo>
                    <a:pt x="1067639" y="1071"/>
                    <a:pt x="1998134" y="578783"/>
                    <a:pt x="2495902" y="1439337"/>
                  </a:cubicBezTo>
                  <a:lnTo>
                    <a:pt x="1246952" y="2159136"/>
                  </a:lnTo>
                  <a:cubicBezTo>
                    <a:pt x="978355" y="1758323"/>
                    <a:pt x="521683" y="1489789"/>
                    <a:pt x="0" y="1474936"/>
                  </a:cubicBezTo>
                  <a:cubicBezTo>
                    <a:pt x="289" y="1324012"/>
                    <a:pt x="543" y="1173076"/>
                    <a:pt x="756" y="1022276"/>
                  </a:cubicBezTo>
                  <a:cubicBezTo>
                    <a:pt x="1015" y="852989"/>
                    <a:pt x="1099" y="762801"/>
                    <a:pt x="1325" y="592421"/>
                  </a:cubicBezTo>
                  <a:cubicBezTo>
                    <a:pt x="1944" y="394361"/>
                    <a:pt x="2107" y="196775"/>
                    <a:pt x="21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2">
              <a:extLst>
                <a:ext uri="{FF2B5EF4-FFF2-40B4-BE49-F238E27FC236}">
                  <a16:creationId xmlns:a16="http://schemas.microsoft.com/office/drawing/2014/main" id="{985CD7E0-73D3-159E-6211-46D6E55649A2}"/>
                </a:ext>
              </a:extLst>
            </p:cNvPr>
            <p:cNvSpPr/>
            <p:nvPr/>
          </p:nvSpPr>
          <p:spPr>
            <a:xfrm>
              <a:off x="4715095" y="694402"/>
              <a:ext cx="2277246" cy="1989743"/>
            </a:xfrm>
            <a:custGeom>
              <a:avLst/>
              <a:gdLst>
                <a:gd name="connsiteX0" fmla="*/ 0 w 2310583"/>
                <a:gd name="connsiteY0" fmla="*/ 0 h 1975455"/>
                <a:gd name="connsiteX1" fmla="*/ 2310583 w 2310583"/>
                <a:gd name="connsiteY1" fmla="*/ 1334030 h 1975455"/>
                <a:gd name="connsiteX2" fmla="*/ 1144072 w 2310583"/>
                <a:gd name="connsiteY2" fmla="*/ 1975455 h 1975455"/>
                <a:gd name="connsiteX3" fmla="*/ 0 w 2310583"/>
                <a:gd name="connsiteY3" fmla="*/ 1361355 h 1975455"/>
                <a:gd name="connsiteX4" fmla="*/ 0 w 2310583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44072 w 2296296"/>
                <a:gd name="connsiteY2" fmla="*/ 1975455 h 1975455"/>
                <a:gd name="connsiteX3" fmla="*/ 0 w 2296296"/>
                <a:gd name="connsiteY3" fmla="*/ 1361355 h 1975455"/>
                <a:gd name="connsiteX4" fmla="*/ 0 w 2296296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53597 w 2296296"/>
                <a:gd name="connsiteY2" fmla="*/ 1975455 h 1975455"/>
                <a:gd name="connsiteX3" fmla="*/ 0 w 2296296"/>
                <a:gd name="connsiteY3" fmla="*/ 1361355 h 1975455"/>
                <a:gd name="connsiteX4" fmla="*/ 0 w 2296296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53597 w 2296296"/>
                <a:gd name="connsiteY2" fmla="*/ 1975455 h 1975455"/>
                <a:gd name="connsiteX3" fmla="*/ 19050 w 2296296"/>
                <a:gd name="connsiteY3" fmla="*/ 1370880 h 1975455"/>
                <a:gd name="connsiteX4" fmla="*/ 0 w 2296296"/>
                <a:gd name="connsiteY4" fmla="*/ 0 h 1975455"/>
                <a:gd name="connsiteX0" fmla="*/ 4762 w 2277246"/>
                <a:gd name="connsiteY0" fmla="*/ 0 h 1980217"/>
                <a:gd name="connsiteX1" fmla="*/ 2277246 w 2277246"/>
                <a:gd name="connsiteY1" fmla="*/ 1319742 h 1980217"/>
                <a:gd name="connsiteX2" fmla="*/ 1134547 w 2277246"/>
                <a:gd name="connsiteY2" fmla="*/ 1980217 h 1980217"/>
                <a:gd name="connsiteX3" fmla="*/ 0 w 2277246"/>
                <a:gd name="connsiteY3" fmla="*/ 1375642 h 1980217"/>
                <a:gd name="connsiteX4" fmla="*/ 4762 w 2277246"/>
                <a:gd name="connsiteY4" fmla="*/ 0 h 1980217"/>
                <a:gd name="connsiteX0" fmla="*/ 19050 w 2277246"/>
                <a:gd name="connsiteY0" fmla="*/ 0 h 1984980"/>
                <a:gd name="connsiteX1" fmla="*/ 2277246 w 2277246"/>
                <a:gd name="connsiteY1" fmla="*/ 1324505 h 1984980"/>
                <a:gd name="connsiteX2" fmla="*/ 1134547 w 2277246"/>
                <a:gd name="connsiteY2" fmla="*/ 1984980 h 1984980"/>
                <a:gd name="connsiteX3" fmla="*/ 0 w 2277246"/>
                <a:gd name="connsiteY3" fmla="*/ 1380405 h 1984980"/>
                <a:gd name="connsiteX4" fmla="*/ 19050 w 2277246"/>
                <a:gd name="connsiteY4" fmla="*/ 0 h 1984980"/>
                <a:gd name="connsiteX0" fmla="*/ 19050 w 2277246"/>
                <a:gd name="connsiteY0" fmla="*/ 0 h 1984980"/>
                <a:gd name="connsiteX1" fmla="*/ 2277246 w 2277246"/>
                <a:gd name="connsiteY1" fmla="*/ 1324505 h 1984980"/>
                <a:gd name="connsiteX2" fmla="*/ 1134547 w 2277246"/>
                <a:gd name="connsiteY2" fmla="*/ 1984980 h 1984980"/>
                <a:gd name="connsiteX3" fmla="*/ 0 w 2277246"/>
                <a:gd name="connsiteY3" fmla="*/ 1370880 h 1984980"/>
                <a:gd name="connsiteX4" fmla="*/ 19050 w 2277246"/>
                <a:gd name="connsiteY4" fmla="*/ 0 h 1984980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34547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246" h="1989743">
                  <a:moveTo>
                    <a:pt x="14288" y="0"/>
                  </a:moveTo>
                  <a:cubicBezTo>
                    <a:pt x="994912" y="18966"/>
                    <a:pt x="1802859" y="543026"/>
                    <a:pt x="2277246" y="1329268"/>
                  </a:cubicBezTo>
                  <a:lnTo>
                    <a:pt x="1120259" y="1989743"/>
                  </a:lnTo>
                  <a:cubicBezTo>
                    <a:pt x="859344" y="1646389"/>
                    <a:pt x="478579" y="1420695"/>
                    <a:pt x="0" y="1375643"/>
                  </a:cubicBezTo>
                  <a:cubicBezTo>
                    <a:pt x="1587" y="917096"/>
                    <a:pt x="12701" y="458547"/>
                    <a:pt x="142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" name="Group 2">
            <a:extLst>
              <a:ext uri="{FF2B5EF4-FFF2-40B4-BE49-F238E27FC236}">
                <a16:creationId xmlns:a16="http://schemas.microsoft.com/office/drawing/2014/main" id="{BF9A5DFD-21D5-53EE-72AE-E07A0C9BD221}"/>
              </a:ext>
            </a:extLst>
          </p:cNvPr>
          <p:cNvGrpSpPr/>
          <p:nvPr/>
        </p:nvGrpSpPr>
        <p:grpSpPr>
          <a:xfrm>
            <a:off x="7198448" y="2567432"/>
            <a:ext cx="1352221" cy="2412916"/>
            <a:chOff x="5933982" y="2122163"/>
            <a:chExt cx="1626350" cy="2902074"/>
          </a:xfrm>
          <a:solidFill>
            <a:schemeClr val="accent3"/>
          </a:solidFill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0D52830C-BE67-EAE6-C784-B036C8EE0EEA}"/>
                </a:ext>
              </a:extLst>
            </p:cNvPr>
            <p:cNvSpPr/>
            <p:nvPr/>
          </p:nvSpPr>
          <p:spPr>
            <a:xfrm>
              <a:off x="5933982" y="2122163"/>
              <a:ext cx="1626350" cy="2902074"/>
            </a:xfrm>
            <a:custGeom>
              <a:avLst/>
              <a:gdLst/>
              <a:ahLst/>
              <a:cxnLst/>
              <a:rect l="l" t="t" r="r" b="b"/>
              <a:pathLst>
                <a:path w="1626350" h="2902074">
                  <a:moveTo>
                    <a:pt x="1227897" y="0"/>
                  </a:moveTo>
                  <a:cubicBezTo>
                    <a:pt x="1477313" y="424433"/>
                    <a:pt x="1626350" y="930541"/>
                    <a:pt x="1626350" y="1458261"/>
                  </a:cubicBezTo>
                  <a:cubicBezTo>
                    <a:pt x="1626350" y="1984715"/>
                    <a:pt x="1485604" y="2478295"/>
                    <a:pt x="1237349" y="2902074"/>
                  </a:cubicBezTo>
                  <a:lnTo>
                    <a:pt x="642002" y="2555751"/>
                  </a:lnTo>
                  <a:lnTo>
                    <a:pt x="250330" y="2327909"/>
                  </a:lnTo>
                  <a:lnTo>
                    <a:pt x="19640" y="2193713"/>
                  </a:lnTo>
                  <a:cubicBezTo>
                    <a:pt x="139604" y="1977605"/>
                    <a:pt x="207735" y="1729857"/>
                    <a:pt x="207735" y="1466507"/>
                  </a:cubicBezTo>
                  <a:cubicBezTo>
                    <a:pt x="207735" y="1189911"/>
                    <a:pt x="132577" y="930525"/>
                    <a:pt x="0" y="707607"/>
                  </a:cubicBezTo>
                  <a:lnTo>
                    <a:pt x="372243" y="493093"/>
                  </a:lnTo>
                  <a:lnTo>
                    <a:pt x="759088" y="2701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15EEF8F-8C05-BF1A-4F26-55C0B813CBCC}"/>
                </a:ext>
              </a:extLst>
            </p:cNvPr>
            <p:cNvSpPr/>
            <p:nvPr/>
          </p:nvSpPr>
          <p:spPr>
            <a:xfrm>
              <a:off x="5973377" y="2250298"/>
              <a:ext cx="1472458" cy="2635777"/>
            </a:xfrm>
            <a:custGeom>
              <a:avLst/>
              <a:gdLst>
                <a:gd name="connsiteX0" fmla="*/ 1117743 w 1472454"/>
                <a:gd name="connsiteY0" fmla="*/ 0 h 2683402"/>
                <a:gd name="connsiteX1" fmla="*/ 1472454 w 1472454"/>
                <a:gd name="connsiteY1" fmla="*/ 1349176 h 2683402"/>
                <a:gd name="connsiteX2" fmla="*/ 1127300 w 1472454"/>
                <a:gd name="connsiteY2" fmla="*/ 2683402 h 2683402"/>
                <a:gd name="connsiteX3" fmla="*/ 4620 w 1472454"/>
                <a:gd name="connsiteY3" fmla="*/ 2035222 h 2683402"/>
                <a:gd name="connsiteX4" fmla="*/ 168341 w 1472454"/>
                <a:gd name="connsiteY4" fmla="*/ 1357421 h 2683402"/>
                <a:gd name="connsiteX5" fmla="*/ 0 w 1472454"/>
                <a:gd name="connsiteY5" fmla="*/ 669881 h 2683402"/>
                <a:gd name="connsiteX6" fmla="*/ 1117743 w 1472454"/>
                <a:gd name="connsiteY6" fmla="*/ 0 h 2683402"/>
                <a:gd name="connsiteX0" fmla="*/ 1141556 w 1472491"/>
                <a:gd name="connsiteY0" fmla="*/ 0 h 2664352"/>
                <a:gd name="connsiteX1" fmla="*/ 1472454 w 1472491"/>
                <a:gd name="connsiteY1" fmla="*/ 1330126 h 2664352"/>
                <a:gd name="connsiteX2" fmla="*/ 1127300 w 1472491"/>
                <a:gd name="connsiteY2" fmla="*/ 2664352 h 2664352"/>
                <a:gd name="connsiteX3" fmla="*/ 4620 w 1472491"/>
                <a:gd name="connsiteY3" fmla="*/ 2016172 h 2664352"/>
                <a:gd name="connsiteX4" fmla="*/ 168341 w 1472491"/>
                <a:gd name="connsiteY4" fmla="*/ 1338371 h 2664352"/>
                <a:gd name="connsiteX5" fmla="*/ 0 w 1472491"/>
                <a:gd name="connsiteY5" fmla="*/ 650831 h 2664352"/>
                <a:gd name="connsiteX6" fmla="*/ 1141556 w 1472491"/>
                <a:gd name="connsiteY6" fmla="*/ 0 h 2664352"/>
                <a:gd name="connsiteX0" fmla="*/ 1141556 w 1472491"/>
                <a:gd name="connsiteY0" fmla="*/ 0 h 2664352"/>
                <a:gd name="connsiteX1" fmla="*/ 1472454 w 1472491"/>
                <a:gd name="connsiteY1" fmla="*/ 1330126 h 2664352"/>
                <a:gd name="connsiteX2" fmla="*/ 1127300 w 1472491"/>
                <a:gd name="connsiteY2" fmla="*/ 2664352 h 2664352"/>
                <a:gd name="connsiteX3" fmla="*/ 18907 w 1472491"/>
                <a:gd name="connsiteY3" fmla="*/ 1982835 h 2664352"/>
                <a:gd name="connsiteX4" fmla="*/ 168341 w 1472491"/>
                <a:gd name="connsiteY4" fmla="*/ 1338371 h 2664352"/>
                <a:gd name="connsiteX5" fmla="*/ 0 w 1472491"/>
                <a:gd name="connsiteY5" fmla="*/ 650831 h 2664352"/>
                <a:gd name="connsiteX6" fmla="*/ 1141556 w 1472491"/>
                <a:gd name="connsiteY6" fmla="*/ 0 h 2664352"/>
                <a:gd name="connsiteX0" fmla="*/ 1141556 w 1472458"/>
                <a:gd name="connsiteY0" fmla="*/ 0 h 2635777"/>
                <a:gd name="connsiteX1" fmla="*/ 1472454 w 1472458"/>
                <a:gd name="connsiteY1" fmla="*/ 1330126 h 2635777"/>
                <a:gd name="connsiteX2" fmla="*/ 1146350 w 1472458"/>
                <a:gd name="connsiteY2" fmla="*/ 2635777 h 2635777"/>
                <a:gd name="connsiteX3" fmla="*/ 18907 w 1472458"/>
                <a:gd name="connsiteY3" fmla="*/ 1982835 h 2635777"/>
                <a:gd name="connsiteX4" fmla="*/ 168341 w 1472458"/>
                <a:gd name="connsiteY4" fmla="*/ 1338371 h 2635777"/>
                <a:gd name="connsiteX5" fmla="*/ 0 w 1472458"/>
                <a:gd name="connsiteY5" fmla="*/ 650831 h 2635777"/>
                <a:gd name="connsiteX6" fmla="*/ 1141556 w 1472458"/>
                <a:gd name="connsiteY6" fmla="*/ 0 h 263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2458" h="2635777">
                  <a:moveTo>
                    <a:pt x="1141556" y="0"/>
                  </a:moveTo>
                  <a:cubicBezTo>
                    <a:pt x="1364668" y="396325"/>
                    <a:pt x="1471655" y="890830"/>
                    <a:pt x="1472454" y="1330126"/>
                  </a:cubicBezTo>
                  <a:cubicBezTo>
                    <a:pt x="1473253" y="1769422"/>
                    <a:pt x="1367478" y="2241204"/>
                    <a:pt x="1146350" y="2635777"/>
                  </a:cubicBezTo>
                  <a:lnTo>
                    <a:pt x="18907" y="1982835"/>
                  </a:lnTo>
                  <a:cubicBezTo>
                    <a:pt x="124238" y="1779257"/>
                    <a:pt x="168341" y="1582168"/>
                    <a:pt x="168341" y="1338371"/>
                  </a:cubicBezTo>
                  <a:cubicBezTo>
                    <a:pt x="168341" y="1083189"/>
                    <a:pt x="113895" y="861705"/>
                    <a:pt x="0" y="650831"/>
                  </a:cubicBezTo>
                  <a:lnTo>
                    <a:pt x="11415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3">
            <a:extLst>
              <a:ext uri="{FF2B5EF4-FFF2-40B4-BE49-F238E27FC236}">
                <a16:creationId xmlns:a16="http://schemas.microsoft.com/office/drawing/2014/main" id="{E9DF5356-B268-054C-B7A6-FEA7C499947E}"/>
              </a:ext>
            </a:extLst>
          </p:cNvPr>
          <p:cNvGrpSpPr/>
          <p:nvPr/>
        </p:nvGrpSpPr>
        <p:grpSpPr>
          <a:xfrm>
            <a:off x="6118163" y="4468368"/>
            <a:ext cx="2087029" cy="1809599"/>
            <a:chOff x="4634697" y="4408466"/>
            <a:chExt cx="2510123" cy="2176451"/>
          </a:xfrm>
          <a:solidFill>
            <a:schemeClr val="accent4"/>
          </a:solidFill>
        </p:grpSpPr>
        <p:sp>
          <p:nvSpPr>
            <p:cNvPr id="15" name="Oval 8">
              <a:extLst>
                <a:ext uri="{FF2B5EF4-FFF2-40B4-BE49-F238E27FC236}">
                  <a16:creationId xmlns:a16="http://schemas.microsoft.com/office/drawing/2014/main" id="{63594FEF-CF4C-CB86-D7C3-1096378B7D56}"/>
                </a:ext>
              </a:extLst>
            </p:cNvPr>
            <p:cNvSpPr/>
            <p:nvPr/>
          </p:nvSpPr>
          <p:spPr>
            <a:xfrm>
              <a:off x="4634697" y="4408466"/>
              <a:ext cx="2510123" cy="2176451"/>
            </a:xfrm>
            <a:custGeom>
              <a:avLst/>
              <a:gdLst/>
              <a:ahLst/>
              <a:cxnLst/>
              <a:rect l="l" t="t" r="r" b="b"/>
              <a:pathLst>
                <a:path w="2510123" h="2176451">
                  <a:moveTo>
                    <a:pt x="1261552" y="0"/>
                  </a:moveTo>
                  <a:lnTo>
                    <a:pt x="1509996" y="143960"/>
                  </a:lnTo>
                  <a:lnTo>
                    <a:pt x="1923464" y="383544"/>
                  </a:lnTo>
                  <a:lnTo>
                    <a:pt x="2510123" y="723481"/>
                  </a:lnTo>
                  <a:cubicBezTo>
                    <a:pt x="2012157" y="1583166"/>
                    <a:pt x="1070742" y="2175381"/>
                    <a:pt x="5876" y="2176451"/>
                  </a:cubicBezTo>
                  <a:lnTo>
                    <a:pt x="4300" y="1536109"/>
                  </a:lnTo>
                  <a:cubicBezTo>
                    <a:pt x="3718" y="1362261"/>
                    <a:pt x="3223" y="1294687"/>
                    <a:pt x="2383" y="1133366"/>
                  </a:cubicBezTo>
                  <a:lnTo>
                    <a:pt x="0" y="701867"/>
                  </a:lnTo>
                  <a:cubicBezTo>
                    <a:pt x="530664" y="687903"/>
                    <a:pt x="994451" y="411586"/>
                    <a:pt x="12615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8">
              <a:extLst>
                <a:ext uri="{FF2B5EF4-FFF2-40B4-BE49-F238E27FC236}">
                  <a16:creationId xmlns:a16="http://schemas.microsoft.com/office/drawing/2014/main" id="{A6079825-3961-B723-FB57-D54E04DAB8DD}"/>
                </a:ext>
              </a:extLst>
            </p:cNvPr>
            <p:cNvSpPr/>
            <p:nvPr/>
          </p:nvSpPr>
          <p:spPr>
            <a:xfrm>
              <a:off x="4727861" y="4469347"/>
              <a:ext cx="2279945" cy="2008712"/>
            </a:xfrm>
            <a:custGeom>
              <a:avLst/>
              <a:gdLst>
                <a:gd name="connsiteX0" fmla="*/ 1161282 w 2322807"/>
                <a:gd name="connsiteY0" fmla="*/ 0 h 1999186"/>
                <a:gd name="connsiteX1" fmla="*/ 2322807 w 2322807"/>
                <a:gd name="connsiteY1" fmla="*/ 650822 h 1999186"/>
                <a:gd name="connsiteX2" fmla="*/ 0 w 2322807"/>
                <a:gd name="connsiteY2" fmla="*/ 1999186 h 1999186"/>
                <a:gd name="connsiteX3" fmla="*/ 0 w 2322807"/>
                <a:gd name="connsiteY3" fmla="*/ 638025 h 1999186"/>
                <a:gd name="connsiteX4" fmla="*/ 1161282 w 2322807"/>
                <a:gd name="connsiteY4" fmla="*/ 0 h 1999186"/>
                <a:gd name="connsiteX0" fmla="*/ 1161282 w 2313282"/>
                <a:gd name="connsiteY0" fmla="*/ 0 h 1999186"/>
                <a:gd name="connsiteX1" fmla="*/ 2313282 w 2313282"/>
                <a:gd name="connsiteY1" fmla="*/ 669872 h 1999186"/>
                <a:gd name="connsiteX2" fmla="*/ 0 w 2313282"/>
                <a:gd name="connsiteY2" fmla="*/ 1999186 h 1999186"/>
                <a:gd name="connsiteX3" fmla="*/ 0 w 2313282"/>
                <a:gd name="connsiteY3" fmla="*/ 638025 h 1999186"/>
                <a:gd name="connsiteX4" fmla="*/ 1161282 w 2313282"/>
                <a:gd name="connsiteY4" fmla="*/ 0 h 1999186"/>
                <a:gd name="connsiteX0" fmla="*/ 1161282 w 2313282"/>
                <a:gd name="connsiteY0" fmla="*/ 0 h 1999186"/>
                <a:gd name="connsiteX1" fmla="*/ 2313282 w 2313282"/>
                <a:gd name="connsiteY1" fmla="*/ 669872 h 1999186"/>
                <a:gd name="connsiteX2" fmla="*/ 0 w 2313282"/>
                <a:gd name="connsiteY2" fmla="*/ 1999186 h 1999186"/>
                <a:gd name="connsiteX3" fmla="*/ 23812 w 2313282"/>
                <a:gd name="connsiteY3" fmla="*/ 642787 h 1999186"/>
                <a:gd name="connsiteX4" fmla="*/ 1161282 w 2313282"/>
                <a:gd name="connsiteY4" fmla="*/ 0 h 1999186"/>
                <a:gd name="connsiteX0" fmla="*/ 1137470 w 2289470"/>
                <a:gd name="connsiteY0" fmla="*/ 0 h 2003949"/>
                <a:gd name="connsiteX1" fmla="*/ 2289470 w 2289470"/>
                <a:gd name="connsiteY1" fmla="*/ 669872 h 2003949"/>
                <a:gd name="connsiteX2" fmla="*/ 0 w 2289470"/>
                <a:gd name="connsiteY2" fmla="*/ 2003949 h 2003949"/>
                <a:gd name="connsiteX3" fmla="*/ 0 w 2289470"/>
                <a:gd name="connsiteY3" fmla="*/ 642787 h 2003949"/>
                <a:gd name="connsiteX4" fmla="*/ 1137470 w 2289470"/>
                <a:gd name="connsiteY4" fmla="*/ 0 h 2003949"/>
                <a:gd name="connsiteX0" fmla="*/ 1137470 w 2289470"/>
                <a:gd name="connsiteY0" fmla="*/ 0 h 2008712"/>
                <a:gd name="connsiteX1" fmla="*/ 2289470 w 2289470"/>
                <a:gd name="connsiteY1" fmla="*/ 669872 h 2008712"/>
                <a:gd name="connsiteX2" fmla="*/ 9525 w 2289470"/>
                <a:gd name="connsiteY2" fmla="*/ 2008712 h 2008712"/>
                <a:gd name="connsiteX3" fmla="*/ 0 w 2289470"/>
                <a:gd name="connsiteY3" fmla="*/ 642787 h 2008712"/>
                <a:gd name="connsiteX4" fmla="*/ 1137470 w 2289470"/>
                <a:gd name="connsiteY4" fmla="*/ 0 h 2008712"/>
                <a:gd name="connsiteX0" fmla="*/ 1127945 w 2279945"/>
                <a:gd name="connsiteY0" fmla="*/ 0 h 2008712"/>
                <a:gd name="connsiteX1" fmla="*/ 2279945 w 2279945"/>
                <a:gd name="connsiteY1" fmla="*/ 669872 h 2008712"/>
                <a:gd name="connsiteX2" fmla="*/ 0 w 2279945"/>
                <a:gd name="connsiteY2" fmla="*/ 2008712 h 2008712"/>
                <a:gd name="connsiteX3" fmla="*/ 0 w 2279945"/>
                <a:gd name="connsiteY3" fmla="*/ 638025 h 2008712"/>
                <a:gd name="connsiteX4" fmla="*/ 1127945 w 2279945"/>
                <a:gd name="connsiteY4" fmla="*/ 0 h 2008712"/>
                <a:gd name="connsiteX0" fmla="*/ 1127945 w 2279945"/>
                <a:gd name="connsiteY0" fmla="*/ 0 h 2008712"/>
                <a:gd name="connsiteX1" fmla="*/ 2279945 w 2279945"/>
                <a:gd name="connsiteY1" fmla="*/ 669872 h 2008712"/>
                <a:gd name="connsiteX2" fmla="*/ 0 w 2279945"/>
                <a:gd name="connsiteY2" fmla="*/ 2008712 h 2008712"/>
                <a:gd name="connsiteX3" fmla="*/ 0 w 2279945"/>
                <a:gd name="connsiteY3" fmla="*/ 638025 h 2008712"/>
                <a:gd name="connsiteX4" fmla="*/ 1127945 w 2279945"/>
                <a:gd name="connsiteY4" fmla="*/ 0 h 200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9945" h="2008712">
                  <a:moveTo>
                    <a:pt x="1127945" y="0"/>
                  </a:moveTo>
                  <a:lnTo>
                    <a:pt x="2279945" y="669872"/>
                  </a:lnTo>
                  <a:cubicBezTo>
                    <a:pt x="1804909" y="1456867"/>
                    <a:pt x="981490" y="1989781"/>
                    <a:pt x="0" y="2008712"/>
                  </a:cubicBezTo>
                  <a:lnTo>
                    <a:pt x="0" y="638025"/>
                  </a:lnTo>
                  <a:cubicBezTo>
                    <a:pt x="485649" y="583459"/>
                    <a:pt x="867087" y="370493"/>
                    <a:pt x="11279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" name="Group 4">
            <a:extLst>
              <a:ext uri="{FF2B5EF4-FFF2-40B4-BE49-F238E27FC236}">
                <a16:creationId xmlns:a16="http://schemas.microsoft.com/office/drawing/2014/main" id="{BC4CD179-0042-C80A-FE24-6AC43CBAC061}"/>
              </a:ext>
            </a:extLst>
          </p:cNvPr>
          <p:cNvGrpSpPr/>
          <p:nvPr/>
        </p:nvGrpSpPr>
        <p:grpSpPr>
          <a:xfrm>
            <a:off x="3927368" y="4455558"/>
            <a:ext cx="2087846" cy="1822547"/>
            <a:chOff x="1999772" y="4393059"/>
            <a:chExt cx="2511107" cy="2192023"/>
          </a:xfrm>
          <a:solidFill>
            <a:schemeClr val="accent5"/>
          </a:solidFill>
        </p:grpSpPr>
        <p:sp>
          <p:nvSpPr>
            <p:cNvPr id="18" name="Oval 11">
              <a:extLst>
                <a:ext uri="{FF2B5EF4-FFF2-40B4-BE49-F238E27FC236}">
                  <a16:creationId xmlns:a16="http://schemas.microsoft.com/office/drawing/2014/main" id="{4AD50AEA-28E1-EE52-C2DB-B9D04C6833DA}"/>
                </a:ext>
              </a:extLst>
            </p:cNvPr>
            <p:cNvSpPr/>
            <p:nvPr/>
          </p:nvSpPr>
          <p:spPr>
            <a:xfrm>
              <a:off x="1999772" y="4393059"/>
              <a:ext cx="2511107" cy="2192023"/>
            </a:xfrm>
            <a:custGeom>
              <a:avLst/>
              <a:gdLst/>
              <a:ahLst/>
              <a:cxnLst/>
              <a:rect l="l" t="t" r="r" b="b"/>
              <a:pathLst>
                <a:path w="2511107" h="2192023">
                  <a:moveTo>
                    <a:pt x="1268913" y="0"/>
                  </a:moveTo>
                  <a:cubicBezTo>
                    <a:pt x="1529018" y="412090"/>
                    <a:pt x="1984877" y="692196"/>
                    <a:pt x="2509179" y="715747"/>
                  </a:cubicBezTo>
                  <a:lnTo>
                    <a:pt x="2509741" y="1145483"/>
                  </a:lnTo>
                  <a:cubicBezTo>
                    <a:pt x="2509952" y="1307252"/>
                    <a:pt x="2510047" y="1379886"/>
                    <a:pt x="2510274" y="1554273"/>
                  </a:cubicBezTo>
                  <a:cubicBezTo>
                    <a:pt x="2510552" y="1766787"/>
                    <a:pt x="2510829" y="1979299"/>
                    <a:pt x="2511107" y="2191813"/>
                  </a:cubicBezTo>
                  <a:cubicBezTo>
                    <a:pt x="2509715" y="2192022"/>
                    <a:pt x="2508321" y="2192023"/>
                    <a:pt x="2506928" y="2192023"/>
                  </a:cubicBezTo>
                  <a:cubicBezTo>
                    <a:pt x="1435869" y="2192023"/>
                    <a:pt x="497069" y="1605649"/>
                    <a:pt x="0" y="738783"/>
                  </a:cubicBezTo>
                  <a:lnTo>
                    <a:pt x="557410" y="414250"/>
                  </a:lnTo>
                  <a:lnTo>
                    <a:pt x="905663" y="2114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1">
              <a:extLst>
                <a:ext uri="{FF2B5EF4-FFF2-40B4-BE49-F238E27FC236}">
                  <a16:creationId xmlns:a16="http://schemas.microsoft.com/office/drawing/2014/main" id="{D6D5435F-5B38-AD08-14F3-0CE72A640718}"/>
                </a:ext>
              </a:extLst>
            </p:cNvPr>
            <p:cNvSpPr/>
            <p:nvPr/>
          </p:nvSpPr>
          <p:spPr>
            <a:xfrm>
              <a:off x="2144264" y="4457041"/>
              <a:ext cx="2286721" cy="2026220"/>
            </a:xfrm>
            <a:custGeom>
              <a:avLst/>
              <a:gdLst>
                <a:gd name="connsiteX0" fmla="*/ 1182943 w 2329583"/>
                <a:gd name="connsiteY0" fmla="*/ 0 h 2011932"/>
                <a:gd name="connsiteX1" fmla="*/ 2329583 w 2329583"/>
                <a:gd name="connsiteY1" fmla="*/ 649321 h 2011932"/>
                <a:gd name="connsiteX2" fmla="*/ 2329583 w 2329583"/>
                <a:gd name="connsiteY2" fmla="*/ 2011932 h 2011932"/>
                <a:gd name="connsiteX3" fmla="*/ 0 w 2329583"/>
                <a:gd name="connsiteY3" fmla="*/ 667948 h 2011932"/>
                <a:gd name="connsiteX4" fmla="*/ 1182943 w 2329583"/>
                <a:gd name="connsiteY4" fmla="*/ 0 h 2011932"/>
                <a:gd name="connsiteX0" fmla="*/ 1173418 w 2320058"/>
                <a:gd name="connsiteY0" fmla="*/ 0 h 2011932"/>
                <a:gd name="connsiteX1" fmla="*/ 2320058 w 2320058"/>
                <a:gd name="connsiteY1" fmla="*/ 649321 h 2011932"/>
                <a:gd name="connsiteX2" fmla="*/ 2320058 w 2320058"/>
                <a:gd name="connsiteY2" fmla="*/ 2011932 h 2011932"/>
                <a:gd name="connsiteX3" fmla="*/ 0 w 2320058"/>
                <a:gd name="connsiteY3" fmla="*/ 691760 h 2011932"/>
                <a:gd name="connsiteX4" fmla="*/ 1173418 w 2320058"/>
                <a:gd name="connsiteY4" fmla="*/ 0 h 2011932"/>
                <a:gd name="connsiteX0" fmla="*/ 1159131 w 2305771"/>
                <a:gd name="connsiteY0" fmla="*/ 0 h 2011932"/>
                <a:gd name="connsiteX1" fmla="*/ 2305771 w 2305771"/>
                <a:gd name="connsiteY1" fmla="*/ 649321 h 2011932"/>
                <a:gd name="connsiteX2" fmla="*/ 2305771 w 2305771"/>
                <a:gd name="connsiteY2" fmla="*/ 2011932 h 2011932"/>
                <a:gd name="connsiteX3" fmla="*/ 0 w 2305771"/>
                <a:gd name="connsiteY3" fmla="*/ 701285 h 2011932"/>
                <a:gd name="connsiteX4" fmla="*/ 1159131 w 2305771"/>
                <a:gd name="connsiteY4" fmla="*/ 0 h 2011932"/>
                <a:gd name="connsiteX0" fmla="*/ 1168656 w 2315296"/>
                <a:gd name="connsiteY0" fmla="*/ 0 h 2011932"/>
                <a:gd name="connsiteX1" fmla="*/ 2315296 w 2315296"/>
                <a:gd name="connsiteY1" fmla="*/ 649321 h 2011932"/>
                <a:gd name="connsiteX2" fmla="*/ 2315296 w 2315296"/>
                <a:gd name="connsiteY2" fmla="*/ 2011932 h 2011932"/>
                <a:gd name="connsiteX3" fmla="*/ 0 w 2315296"/>
                <a:gd name="connsiteY3" fmla="*/ 691760 h 2011932"/>
                <a:gd name="connsiteX4" fmla="*/ 1168656 w 2315296"/>
                <a:gd name="connsiteY4" fmla="*/ 0 h 2011932"/>
                <a:gd name="connsiteX0" fmla="*/ 1168656 w 2315296"/>
                <a:gd name="connsiteY0" fmla="*/ 0 h 2026220"/>
                <a:gd name="connsiteX1" fmla="*/ 2315296 w 2315296"/>
                <a:gd name="connsiteY1" fmla="*/ 649321 h 2026220"/>
                <a:gd name="connsiteX2" fmla="*/ 2277196 w 2315296"/>
                <a:gd name="connsiteY2" fmla="*/ 2026220 h 2026220"/>
                <a:gd name="connsiteX3" fmla="*/ 0 w 2315296"/>
                <a:gd name="connsiteY3" fmla="*/ 691760 h 2026220"/>
                <a:gd name="connsiteX4" fmla="*/ 1168656 w 2315296"/>
                <a:gd name="connsiteY4" fmla="*/ 0 h 2026220"/>
                <a:gd name="connsiteX0" fmla="*/ 1168656 w 2286721"/>
                <a:gd name="connsiteY0" fmla="*/ 0 h 2026220"/>
                <a:gd name="connsiteX1" fmla="*/ 2286721 w 2286721"/>
                <a:gd name="connsiteY1" fmla="*/ 649321 h 2026220"/>
                <a:gd name="connsiteX2" fmla="*/ 2277196 w 2286721"/>
                <a:gd name="connsiteY2" fmla="*/ 2026220 h 2026220"/>
                <a:gd name="connsiteX3" fmla="*/ 0 w 2286721"/>
                <a:gd name="connsiteY3" fmla="*/ 691760 h 2026220"/>
                <a:gd name="connsiteX4" fmla="*/ 1168656 w 2286721"/>
                <a:gd name="connsiteY4" fmla="*/ 0 h 2026220"/>
                <a:gd name="connsiteX0" fmla="*/ 1168656 w 2286721"/>
                <a:gd name="connsiteY0" fmla="*/ 0 h 2026220"/>
                <a:gd name="connsiteX1" fmla="*/ 2286721 w 2286721"/>
                <a:gd name="connsiteY1" fmla="*/ 649321 h 2026220"/>
                <a:gd name="connsiteX2" fmla="*/ 2286721 w 2286721"/>
                <a:gd name="connsiteY2" fmla="*/ 2026220 h 2026220"/>
                <a:gd name="connsiteX3" fmla="*/ 0 w 2286721"/>
                <a:gd name="connsiteY3" fmla="*/ 691760 h 2026220"/>
                <a:gd name="connsiteX4" fmla="*/ 1168656 w 2286721"/>
                <a:gd name="connsiteY4" fmla="*/ 0 h 202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721" h="2026220">
                  <a:moveTo>
                    <a:pt x="1168656" y="0"/>
                  </a:moveTo>
                  <a:cubicBezTo>
                    <a:pt x="1425717" y="369312"/>
                    <a:pt x="1806231" y="612248"/>
                    <a:pt x="2286721" y="649321"/>
                  </a:cubicBezTo>
                  <a:lnTo>
                    <a:pt x="2286721" y="2026220"/>
                  </a:lnTo>
                  <a:cubicBezTo>
                    <a:pt x="1298674" y="2010846"/>
                    <a:pt x="475836" y="1484425"/>
                    <a:pt x="0" y="691760"/>
                  </a:cubicBezTo>
                  <a:cubicBezTo>
                    <a:pt x="391139" y="465936"/>
                    <a:pt x="777517" y="225824"/>
                    <a:pt x="11686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" name="Group 5">
            <a:extLst>
              <a:ext uri="{FF2B5EF4-FFF2-40B4-BE49-F238E27FC236}">
                <a16:creationId xmlns:a16="http://schemas.microsoft.com/office/drawing/2014/main" id="{B9C85665-6F3F-EEC7-27D9-F26D6821F2CE}"/>
              </a:ext>
            </a:extLst>
          </p:cNvPr>
          <p:cNvGrpSpPr/>
          <p:nvPr/>
        </p:nvGrpSpPr>
        <p:grpSpPr>
          <a:xfrm>
            <a:off x="3581400" y="2594496"/>
            <a:ext cx="1359386" cy="2392489"/>
            <a:chOff x="1583668" y="2154713"/>
            <a:chExt cx="1634968" cy="2877506"/>
          </a:xfrm>
          <a:solidFill>
            <a:schemeClr val="accent6"/>
          </a:solidFill>
        </p:grpSpPr>
        <p:sp>
          <p:nvSpPr>
            <p:cNvPr id="21" name="Oval 14">
              <a:extLst>
                <a:ext uri="{FF2B5EF4-FFF2-40B4-BE49-F238E27FC236}">
                  <a16:creationId xmlns:a16="http://schemas.microsoft.com/office/drawing/2014/main" id="{63C76326-4853-4472-020B-C5713D3EDCE0}"/>
                </a:ext>
              </a:extLst>
            </p:cNvPr>
            <p:cNvSpPr/>
            <p:nvPr/>
          </p:nvSpPr>
          <p:spPr>
            <a:xfrm>
              <a:off x="1583668" y="2154713"/>
              <a:ext cx="1634968" cy="2877506"/>
            </a:xfrm>
            <a:custGeom>
              <a:avLst/>
              <a:gdLst/>
              <a:ahLst/>
              <a:cxnLst/>
              <a:rect l="l" t="t" r="r" b="b"/>
              <a:pathLst>
                <a:path w="1634968" h="2877506">
                  <a:moveTo>
                    <a:pt x="387922" y="0"/>
                  </a:moveTo>
                  <a:lnTo>
                    <a:pt x="886724" y="284420"/>
                  </a:lnTo>
                  <a:lnTo>
                    <a:pt x="1244991" y="488705"/>
                  </a:lnTo>
                  <a:lnTo>
                    <a:pt x="1634968" y="711073"/>
                  </a:lnTo>
                  <a:cubicBezTo>
                    <a:pt x="1516337" y="926105"/>
                    <a:pt x="1449095" y="1172333"/>
                    <a:pt x="1449095" y="1433957"/>
                  </a:cubicBezTo>
                  <a:cubicBezTo>
                    <a:pt x="1449095" y="1694200"/>
                    <a:pt x="1515629" y="1939207"/>
                    <a:pt x="1633250" y="2153345"/>
                  </a:cubicBezTo>
                  <a:lnTo>
                    <a:pt x="1292206" y="2352461"/>
                  </a:lnTo>
                  <a:lnTo>
                    <a:pt x="939254" y="2557810"/>
                  </a:lnTo>
                  <a:lnTo>
                    <a:pt x="383934" y="2877506"/>
                  </a:lnTo>
                  <a:cubicBezTo>
                    <a:pt x="138888" y="2455524"/>
                    <a:pt x="0" y="1964999"/>
                    <a:pt x="0" y="1442037"/>
                  </a:cubicBezTo>
                  <a:cubicBezTo>
                    <a:pt x="0" y="916326"/>
                    <a:pt x="140350" y="423398"/>
                    <a:pt x="3879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4">
              <a:extLst>
                <a:ext uri="{FF2B5EF4-FFF2-40B4-BE49-F238E27FC236}">
                  <a16:creationId xmlns:a16="http://schemas.microsoft.com/office/drawing/2014/main" id="{D37B208F-C240-DB8F-D68F-B26F52A99346}"/>
                </a:ext>
              </a:extLst>
            </p:cNvPr>
            <p:cNvSpPr/>
            <p:nvPr/>
          </p:nvSpPr>
          <p:spPr>
            <a:xfrm>
              <a:off x="1698172" y="2281791"/>
              <a:ext cx="1489148" cy="2625883"/>
            </a:xfrm>
            <a:custGeom>
              <a:avLst/>
              <a:gdLst>
                <a:gd name="connsiteX0" fmla="*/ 347558 w 1500402"/>
                <a:gd name="connsiteY0" fmla="*/ 0 h 2654459"/>
                <a:gd name="connsiteX1" fmla="*/ 1493911 w 1500402"/>
                <a:gd name="connsiteY1" fmla="*/ 661847 h 2654459"/>
                <a:gd name="connsiteX2" fmla="*/ 1334591 w 1500402"/>
                <a:gd name="connsiteY2" fmla="*/ 1330691 h 2654459"/>
                <a:gd name="connsiteX3" fmla="*/ 1500402 w 1500402"/>
                <a:gd name="connsiteY3" fmla="*/ 2012747 h 2654459"/>
                <a:gd name="connsiteX4" fmla="*/ 328630 w 1500402"/>
                <a:gd name="connsiteY4" fmla="*/ 2654459 h 2654459"/>
                <a:gd name="connsiteX5" fmla="*/ 0 w 1500402"/>
                <a:gd name="connsiteY5" fmla="*/ 1338773 h 2654459"/>
                <a:gd name="connsiteX6" fmla="*/ 347558 w 1500402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76590 w 1493911"/>
                <a:gd name="connsiteY3" fmla="*/ 1998460 h 2654459"/>
                <a:gd name="connsiteX4" fmla="*/ 328630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86115 w 1493911"/>
                <a:gd name="connsiteY3" fmla="*/ 1974647 h 2654459"/>
                <a:gd name="connsiteX4" fmla="*/ 328630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86115 w 1493911"/>
                <a:gd name="connsiteY3" fmla="*/ 1974647 h 2654459"/>
                <a:gd name="connsiteX4" fmla="*/ 323867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49696"/>
                <a:gd name="connsiteX1" fmla="*/ 1493911 w 1493911"/>
                <a:gd name="connsiteY1" fmla="*/ 661847 h 2649696"/>
                <a:gd name="connsiteX2" fmla="*/ 1334591 w 1493911"/>
                <a:gd name="connsiteY2" fmla="*/ 1330691 h 2649696"/>
                <a:gd name="connsiteX3" fmla="*/ 1486115 w 1493911"/>
                <a:gd name="connsiteY3" fmla="*/ 1974647 h 2649696"/>
                <a:gd name="connsiteX4" fmla="*/ 319105 w 1493911"/>
                <a:gd name="connsiteY4" fmla="*/ 2649696 h 2649696"/>
                <a:gd name="connsiteX5" fmla="*/ 0 w 1493911"/>
                <a:gd name="connsiteY5" fmla="*/ 1338773 h 2649696"/>
                <a:gd name="connsiteX6" fmla="*/ 347558 w 1493911"/>
                <a:gd name="connsiteY6" fmla="*/ 0 h 2649696"/>
                <a:gd name="connsiteX0" fmla="*/ 347558 w 1486115"/>
                <a:gd name="connsiteY0" fmla="*/ 0 h 2649696"/>
                <a:gd name="connsiteX1" fmla="*/ 1474861 w 1486115"/>
                <a:gd name="connsiteY1" fmla="*/ 676135 h 2649696"/>
                <a:gd name="connsiteX2" fmla="*/ 1334591 w 1486115"/>
                <a:gd name="connsiteY2" fmla="*/ 1330691 h 2649696"/>
                <a:gd name="connsiteX3" fmla="*/ 1486115 w 1486115"/>
                <a:gd name="connsiteY3" fmla="*/ 1974647 h 2649696"/>
                <a:gd name="connsiteX4" fmla="*/ 319105 w 1486115"/>
                <a:gd name="connsiteY4" fmla="*/ 2649696 h 2649696"/>
                <a:gd name="connsiteX5" fmla="*/ 0 w 1486115"/>
                <a:gd name="connsiteY5" fmla="*/ 1338773 h 2649696"/>
                <a:gd name="connsiteX6" fmla="*/ 347558 w 1486115"/>
                <a:gd name="connsiteY6" fmla="*/ 0 h 2649696"/>
                <a:gd name="connsiteX0" fmla="*/ 323745 w 1486115"/>
                <a:gd name="connsiteY0" fmla="*/ 0 h 2611596"/>
                <a:gd name="connsiteX1" fmla="*/ 1474861 w 1486115"/>
                <a:gd name="connsiteY1" fmla="*/ 638035 h 2611596"/>
                <a:gd name="connsiteX2" fmla="*/ 1334591 w 1486115"/>
                <a:gd name="connsiteY2" fmla="*/ 1292591 h 2611596"/>
                <a:gd name="connsiteX3" fmla="*/ 1486115 w 1486115"/>
                <a:gd name="connsiteY3" fmla="*/ 1936547 h 2611596"/>
                <a:gd name="connsiteX4" fmla="*/ 319105 w 1486115"/>
                <a:gd name="connsiteY4" fmla="*/ 2611596 h 2611596"/>
                <a:gd name="connsiteX5" fmla="*/ 0 w 1486115"/>
                <a:gd name="connsiteY5" fmla="*/ 1300673 h 2611596"/>
                <a:gd name="connsiteX6" fmla="*/ 323745 w 1486115"/>
                <a:gd name="connsiteY6" fmla="*/ 0 h 2611596"/>
                <a:gd name="connsiteX0" fmla="*/ 323745 w 1486115"/>
                <a:gd name="connsiteY0" fmla="*/ 0 h 2611596"/>
                <a:gd name="connsiteX1" fmla="*/ 1474861 w 1486115"/>
                <a:gd name="connsiteY1" fmla="*/ 638035 h 2611596"/>
                <a:gd name="connsiteX2" fmla="*/ 1334591 w 1486115"/>
                <a:gd name="connsiteY2" fmla="*/ 1292591 h 2611596"/>
                <a:gd name="connsiteX3" fmla="*/ 1486115 w 1486115"/>
                <a:gd name="connsiteY3" fmla="*/ 1936547 h 2611596"/>
                <a:gd name="connsiteX4" fmla="*/ 319105 w 1486115"/>
                <a:gd name="connsiteY4" fmla="*/ 2611596 h 2611596"/>
                <a:gd name="connsiteX5" fmla="*/ 0 w 1486115"/>
                <a:gd name="connsiteY5" fmla="*/ 1300673 h 2611596"/>
                <a:gd name="connsiteX6" fmla="*/ 323745 w 1486115"/>
                <a:gd name="connsiteY6" fmla="*/ 0 h 2611596"/>
                <a:gd name="connsiteX0" fmla="*/ 328508 w 1486115"/>
                <a:gd name="connsiteY0" fmla="*/ 0 h 2625883"/>
                <a:gd name="connsiteX1" fmla="*/ 1474861 w 1486115"/>
                <a:gd name="connsiteY1" fmla="*/ 652322 h 2625883"/>
                <a:gd name="connsiteX2" fmla="*/ 1334591 w 1486115"/>
                <a:gd name="connsiteY2" fmla="*/ 1306878 h 2625883"/>
                <a:gd name="connsiteX3" fmla="*/ 1486115 w 1486115"/>
                <a:gd name="connsiteY3" fmla="*/ 1950834 h 2625883"/>
                <a:gd name="connsiteX4" fmla="*/ 319105 w 1486115"/>
                <a:gd name="connsiteY4" fmla="*/ 2625883 h 2625883"/>
                <a:gd name="connsiteX5" fmla="*/ 0 w 1486115"/>
                <a:gd name="connsiteY5" fmla="*/ 1314960 h 2625883"/>
                <a:gd name="connsiteX6" fmla="*/ 328508 w 1486115"/>
                <a:gd name="connsiteY6" fmla="*/ 0 h 2625883"/>
                <a:gd name="connsiteX0" fmla="*/ 328508 w 1489148"/>
                <a:gd name="connsiteY0" fmla="*/ 0 h 2625883"/>
                <a:gd name="connsiteX1" fmla="*/ 1489148 w 1489148"/>
                <a:gd name="connsiteY1" fmla="*/ 652322 h 2625883"/>
                <a:gd name="connsiteX2" fmla="*/ 1334591 w 1489148"/>
                <a:gd name="connsiteY2" fmla="*/ 1306878 h 2625883"/>
                <a:gd name="connsiteX3" fmla="*/ 1486115 w 1489148"/>
                <a:gd name="connsiteY3" fmla="*/ 1950834 h 2625883"/>
                <a:gd name="connsiteX4" fmla="*/ 319105 w 1489148"/>
                <a:gd name="connsiteY4" fmla="*/ 2625883 h 2625883"/>
                <a:gd name="connsiteX5" fmla="*/ 0 w 1489148"/>
                <a:gd name="connsiteY5" fmla="*/ 1314960 h 2625883"/>
                <a:gd name="connsiteX6" fmla="*/ 328508 w 1489148"/>
                <a:gd name="connsiteY6" fmla="*/ 0 h 26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9148" h="2625883">
                  <a:moveTo>
                    <a:pt x="328508" y="0"/>
                  </a:moveTo>
                  <a:lnTo>
                    <a:pt x="1489148" y="652322"/>
                  </a:lnTo>
                  <a:cubicBezTo>
                    <a:pt x="1386534" y="853641"/>
                    <a:pt x="1335096" y="1090459"/>
                    <a:pt x="1334591" y="1306878"/>
                  </a:cubicBezTo>
                  <a:cubicBezTo>
                    <a:pt x="1334086" y="1523297"/>
                    <a:pt x="1379503" y="1746180"/>
                    <a:pt x="1486115" y="1950834"/>
                  </a:cubicBezTo>
                  <a:lnTo>
                    <a:pt x="319105" y="2625883"/>
                  </a:lnTo>
                  <a:cubicBezTo>
                    <a:pt x="96522" y="2229947"/>
                    <a:pt x="0" y="1801349"/>
                    <a:pt x="0" y="1314960"/>
                  </a:cubicBezTo>
                  <a:cubicBezTo>
                    <a:pt x="0" y="828814"/>
                    <a:pt x="105921" y="395672"/>
                    <a:pt x="3285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53">
            <a:extLst>
              <a:ext uri="{FF2B5EF4-FFF2-40B4-BE49-F238E27FC236}">
                <a16:creationId xmlns:a16="http://schemas.microsoft.com/office/drawing/2014/main" id="{EB4FD8AA-846E-AC23-2B17-5535CB58C0A1}"/>
              </a:ext>
            </a:extLst>
          </p:cNvPr>
          <p:cNvGrpSpPr/>
          <p:nvPr/>
        </p:nvGrpSpPr>
        <p:grpSpPr>
          <a:xfrm>
            <a:off x="5200742" y="2956956"/>
            <a:ext cx="1752962" cy="1752960"/>
            <a:chOff x="2183857" y="1007017"/>
            <a:chExt cx="1803671" cy="1803669"/>
          </a:xfrm>
          <a:solidFill>
            <a:schemeClr val="bg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561F7CF-22A2-6868-0361-39A5F56D65D3}"/>
                </a:ext>
              </a:extLst>
            </p:cNvPr>
            <p:cNvSpPr/>
            <p:nvPr/>
          </p:nvSpPr>
          <p:spPr>
            <a:xfrm flipH="1">
              <a:off x="2183857" y="1007017"/>
              <a:ext cx="1803671" cy="180366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266F7DD-5E77-DC48-AF24-14182B3DC8C9}"/>
                </a:ext>
              </a:extLst>
            </p:cNvPr>
            <p:cNvSpPr/>
            <p:nvPr/>
          </p:nvSpPr>
          <p:spPr>
            <a:xfrm flipH="1">
              <a:off x="2406052" y="1072366"/>
              <a:ext cx="1372358" cy="104560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24C38EE-BE62-2D88-BA90-94F1E2C8BE96}"/>
              </a:ext>
            </a:extLst>
          </p:cNvPr>
          <p:cNvSpPr txBox="1"/>
          <p:nvPr/>
        </p:nvSpPr>
        <p:spPr>
          <a:xfrm>
            <a:off x="4801450" y="1768984"/>
            <a:ext cx="1011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F46AA25-DA90-9D61-7C51-DBF749210741}"/>
              </a:ext>
            </a:extLst>
          </p:cNvPr>
          <p:cNvSpPr txBox="1"/>
          <p:nvPr/>
        </p:nvSpPr>
        <p:spPr>
          <a:xfrm>
            <a:off x="6551120" y="1680438"/>
            <a:ext cx="10302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7F067B-1960-BA82-AB08-687226D7813F}"/>
              </a:ext>
            </a:extLst>
          </p:cNvPr>
          <p:cNvSpPr txBox="1"/>
          <p:nvPr/>
        </p:nvSpPr>
        <p:spPr>
          <a:xfrm>
            <a:off x="7516224" y="3383206"/>
            <a:ext cx="1001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A2A9844-F1B6-449E-8A80-CDF56963FB34}"/>
              </a:ext>
            </a:extLst>
          </p:cNvPr>
          <p:cNvSpPr txBox="1"/>
          <p:nvPr/>
        </p:nvSpPr>
        <p:spPr>
          <a:xfrm>
            <a:off x="6605785" y="4980348"/>
            <a:ext cx="11496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2D21F0-01BB-B60D-D7F2-42895FDD6D36}"/>
              </a:ext>
            </a:extLst>
          </p:cNvPr>
          <p:cNvSpPr txBox="1"/>
          <p:nvPr/>
        </p:nvSpPr>
        <p:spPr>
          <a:xfrm>
            <a:off x="4728948" y="4971510"/>
            <a:ext cx="10165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401108-8E92-3F5C-BE17-78C79303A927}"/>
              </a:ext>
            </a:extLst>
          </p:cNvPr>
          <p:cNvSpPr txBox="1"/>
          <p:nvPr/>
        </p:nvSpPr>
        <p:spPr>
          <a:xfrm>
            <a:off x="3733601" y="3393184"/>
            <a:ext cx="10141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cs typeface="Calibri" pitchFamily="34" charset="0"/>
              </a:rPr>
              <a:t>This is a sample text that you can edit. </a:t>
            </a:r>
            <a:endParaRPr lang="en-US" sz="1200" dirty="0">
              <a:cs typeface="Calibri" pitchFamily="34" charset="0"/>
            </a:endParaRPr>
          </a:p>
        </p:txBody>
      </p:sp>
      <p:sp>
        <p:nvSpPr>
          <p:cNvPr id="38" name="Rounded Rectangle 45">
            <a:extLst>
              <a:ext uri="{FF2B5EF4-FFF2-40B4-BE49-F238E27FC236}">
                <a16:creationId xmlns:a16="http://schemas.microsoft.com/office/drawing/2014/main" id="{6393DE7C-517E-13B8-EA4D-8958B94CBCB0}"/>
              </a:ext>
            </a:extLst>
          </p:cNvPr>
          <p:cNvSpPr/>
          <p:nvPr/>
        </p:nvSpPr>
        <p:spPr>
          <a:xfrm>
            <a:off x="5347232" y="3122369"/>
            <a:ext cx="1468848" cy="1422058"/>
          </a:xfrm>
          <a:prstGeom prst="roundRect">
            <a:avLst>
              <a:gd name="adj" fmla="val 49783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74177AE-2BD8-C792-044F-DBC6C94B1BAC}"/>
              </a:ext>
            </a:extLst>
          </p:cNvPr>
          <p:cNvSpPr txBox="1"/>
          <p:nvPr/>
        </p:nvSpPr>
        <p:spPr>
          <a:xfrm>
            <a:off x="5403302" y="3613099"/>
            <a:ext cx="1387672" cy="400110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27000" h="25400" prst="cross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cs typeface="Arial" pitchFamily="34" charset="0"/>
              </a:rPr>
              <a:t>Header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8B349BB-3634-F368-4ECD-D1C5CEE4388B}"/>
              </a:ext>
            </a:extLst>
          </p:cNvPr>
          <p:cNvCxnSpPr/>
          <p:nvPr/>
        </p:nvCxnSpPr>
        <p:spPr>
          <a:xfrm>
            <a:off x="1940539" y="1156150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623904D-9920-F6E9-7A66-61B01BC0C95F}"/>
              </a:ext>
            </a:extLst>
          </p:cNvPr>
          <p:cNvCxnSpPr/>
          <p:nvPr/>
        </p:nvCxnSpPr>
        <p:spPr>
          <a:xfrm>
            <a:off x="8812309" y="1195076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80D7F0-8627-EF80-63F8-06E9EA3C31E2}"/>
              </a:ext>
            </a:extLst>
          </p:cNvPr>
          <p:cNvCxnSpPr/>
          <p:nvPr/>
        </p:nvCxnSpPr>
        <p:spPr>
          <a:xfrm>
            <a:off x="2005463" y="4647172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14539E6-9E9D-69E5-1C16-BE8D868DABD0}"/>
              </a:ext>
            </a:extLst>
          </p:cNvPr>
          <p:cNvCxnSpPr/>
          <p:nvPr/>
        </p:nvCxnSpPr>
        <p:spPr>
          <a:xfrm>
            <a:off x="8801805" y="4631167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FA20A552-45AA-E3AB-EF35-7D8A01B30EFC}"/>
              </a:ext>
            </a:extLst>
          </p:cNvPr>
          <p:cNvSpPr txBox="1"/>
          <p:nvPr/>
        </p:nvSpPr>
        <p:spPr>
          <a:xfrm>
            <a:off x="1984775" y="1165100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B8E27AB-6BCB-8B4C-EFCF-F07134573F91}"/>
              </a:ext>
            </a:extLst>
          </p:cNvPr>
          <p:cNvSpPr txBox="1"/>
          <p:nvPr/>
        </p:nvSpPr>
        <p:spPr>
          <a:xfrm>
            <a:off x="8856545" y="1204026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4AE222C-1858-6777-89CE-336221D03BAA}"/>
              </a:ext>
            </a:extLst>
          </p:cNvPr>
          <p:cNvSpPr txBox="1"/>
          <p:nvPr/>
        </p:nvSpPr>
        <p:spPr>
          <a:xfrm>
            <a:off x="2049699" y="4656122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6A7FFC1-4E73-B1EA-F722-F280DF9ED66A}"/>
              </a:ext>
            </a:extLst>
          </p:cNvPr>
          <p:cNvSpPr txBox="1"/>
          <p:nvPr/>
        </p:nvSpPr>
        <p:spPr>
          <a:xfrm>
            <a:off x="8846041" y="4640117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795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172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76</cp:revision>
  <dcterms:created xsi:type="dcterms:W3CDTF">2021-03-31T02:49:57Z</dcterms:created>
  <dcterms:modified xsi:type="dcterms:W3CDTF">2025-10-15T03:16:33Z</dcterms:modified>
  <cp:category/>
</cp:coreProperties>
</file>